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38"/>
  </p:notesMasterIdLst>
  <p:sldIdLst>
    <p:sldId id="256" r:id="rId2"/>
    <p:sldId id="5024" r:id="rId3"/>
    <p:sldId id="4956" r:id="rId4"/>
    <p:sldId id="4957" r:id="rId5"/>
    <p:sldId id="4958" r:id="rId6"/>
    <p:sldId id="4959" r:id="rId7"/>
    <p:sldId id="4960" r:id="rId8"/>
    <p:sldId id="4961" r:id="rId9"/>
    <p:sldId id="4962" r:id="rId10"/>
    <p:sldId id="4964" r:id="rId11"/>
    <p:sldId id="4965" r:id="rId12"/>
    <p:sldId id="5025" r:id="rId13"/>
    <p:sldId id="5026" r:id="rId14"/>
    <p:sldId id="5014" r:id="rId15"/>
    <p:sldId id="4985" r:id="rId16"/>
    <p:sldId id="5021" r:id="rId17"/>
    <p:sldId id="5016" r:id="rId18"/>
    <p:sldId id="5020" r:id="rId19"/>
    <p:sldId id="5017" r:id="rId20"/>
    <p:sldId id="5019" r:id="rId21"/>
    <p:sldId id="4983" r:id="rId22"/>
    <p:sldId id="4986" r:id="rId23"/>
    <p:sldId id="4987" r:id="rId24"/>
    <p:sldId id="4988" r:id="rId25"/>
    <p:sldId id="4989" r:id="rId26"/>
    <p:sldId id="4990" r:id="rId27"/>
    <p:sldId id="5022" r:id="rId28"/>
    <p:sldId id="5023" r:id="rId29"/>
    <p:sldId id="5027" r:id="rId30"/>
    <p:sldId id="5011" r:id="rId31"/>
    <p:sldId id="4993" r:id="rId32"/>
    <p:sldId id="4995" r:id="rId33"/>
    <p:sldId id="4994" r:id="rId34"/>
    <p:sldId id="4996" r:id="rId35"/>
    <p:sldId id="4997" r:id="rId36"/>
    <p:sldId id="5004" r:id="rId37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672" autoAdjust="0"/>
    <p:restoredTop sz="96381" autoAdjust="0"/>
  </p:normalViewPr>
  <p:slideViewPr>
    <p:cSldViewPr snapToGrid="0">
      <p:cViewPr varScale="1">
        <p:scale>
          <a:sx n="121" d="100"/>
          <a:sy n="121" d="100"/>
        </p:scale>
        <p:origin x="1234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10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236311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911628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30413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96214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054816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34235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395244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</a:t>
            </a:r>
            <a:r>
              <a:rPr lang="de-CH" dirty="0" err="1"/>
              <a:t>handcrafted</a:t>
            </a:r>
            <a:r>
              <a:rPr lang="de-CH" dirty="0"/>
              <a:t>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5911126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705986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7" r:id="rId7"/>
    <p:sldLayoutId id="2147483730" r:id="rId8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3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3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3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de-DE" sz="6560" dirty="0" err="1"/>
              <a:t>GPTx</a:t>
            </a:r>
            <a:r>
              <a:rPr lang="de-DE" sz="6560" dirty="0"/>
              <a:t> und RAG in der Praxis</a:t>
            </a: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de-DE" dirty="0"/>
              <a:t>Schluss mit Prototy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4C80A8-9657-4799-5452-B2B933DBB935}"/>
              </a:ext>
            </a:extLst>
          </p:cNvPr>
          <p:cNvSpPr txBox="1"/>
          <p:nvPr/>
        </p:nvSpPr>
        <p:spPr>
          <a:xfrm>
            <a:off x="459000" y="5617046"/>
            <a:ext cx="622737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800" dirty="0"/>
              <a:t>Olliver Zeigermann</a:t>
            </a:r>
          </a:p>
          <a:p>
            <a:r>
              <a:rPr lang="en" dirty="0"/>
              <a:t>Christian Hidber</a:t>
            </a:r>
          </a:p>
          <a:p>
            <a:endParaRPr lang="en" dirty="0"/>
          </a:p>
          <a:p>
            <a:r>
              <a:rPr lang="en" sz="1400" dirty="0"/>
              <a:t>data2day, Heidelberg, September 2024</a:t>
            </a:r>
            <a:endParaRPr lang="en-CH" sz="1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2">
            <a:extLst>
              <a:ext uri="{FF2B5EF4-FFF2-40B4-BE49-F238E27FC236}">
                <a16:creationId xmlns:a16="http://schemas.microsoft.com/office/drawing/2014/main" id="{59C4492D-1499-F9D7-35FE-8B19107BBD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1449" y="2351001"/>
            <a:ext cx="1316380" cy="1316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Na</a:t>
            </a:r>
            <a:r>
              <a:rPr lang="de-CH" dirty="0"/>
              <a:t>ï</a:t>
            </a:r>
            <a:r>
              <a:rPr lang="en" dirty="0"/>
              <a:t>ve Approach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9402F04-C343-EE61-3378-3B22C639713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0E0DF63-895E-7FBB-8350-861586E3DC8A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FFD0E0-4415-A5B3-24F2-215D5A242284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1F63E8A-3EC7-C032-CBF3-1422ABD22D45}"/>
              </a:ext>
            </a:extLst>
          </p:cNvPr>
          <p:cNvSpPr txBox="1"/>
          <p:nvPr/>
        </p:nvSpPr>
        <p:spPr>
          <a:xfrm>
            <a:off x="4836494" y="2104780"/>
            <a:ext cx="2109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>
                <a:latin typeface="Arial"/>
              </a:rPr>
              <a:t>Use </a:t>
            </a:r>
            <a:r>
              <a:rPr lang="de-CH" sz="1600" dirty="0" err="1">
                <a:latin typeface="Arial"/>
              </a:rPr>
              <a:t>the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ollowing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acts</a:t>
            </a:r>
            <a:r>
              <a:rPr lang="de-CH" sz="1600" dirty="0">
                <a:latin typeface="Arial"/>
              </a:rPr>
              <a:t>:</a:t>
            </a:r>
            <a:endParaRPr lang="en-CH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52385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de-CH" dirty="0"/>
              <a:t>Idea: just a </a:t>
            </a:r>
            <a:r>
              <a:rPr lang="de-CH" dirty="0" err="1"/>
              <a:t>few</a:t>
            </a:r>
            <a:r>
              <a:rPr lang="de-CH" dirty="0"/>
              <a:t> </a:t>
            </a:r>
            <a:r>
              <a:rPr lang="de-CH" dirty="0" err="1"/>
              <a:t>pages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60" name="Picture 12">
            <a:extLst>
              <a:ext uri="{FF2B5EF4-FFF2-40B4-BE49-F238E27FC236}">
                <a16:creationId xmlns:a16="http://schemas.microsoft.com/office/drawing/2014/main" id="{41402FD0-E065-06E0-8BFB-089AF56FF4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726" y="2424810"/>
            <a:ext cx="1128722" cy="1128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lowchart: Document 4">
            <a:extLst>
              <a:ext uri="{FF2B5EF4-FFF2-40B4-BE49-F238E27FC236}">
                <a16:creationId xmlns:a16="http://schemas.microsoft.com/office/drawing/2014/main" id="{4A58C092-F65D-5AD1-D588-EEBD1AFF70D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2351-F458-CA89-7E8D-18FB6C9F6320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3DBF25-0ABC-69C7-B12B-77BD9DEF3FAC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2E57F4-4110-FED7-2807-3C5029960AFB}"/>
              </a:ext>
            </a:extLst>
          </p:cNvPr>
          <p:cNvSpPr txBox="1"/>
          <p:nvPr/>
        </p:nvSpPr>
        <p:spPr>
          <a:xfrm>
            <a:off x="4836494" y="2104780"/>
            <a:ext cx="2109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>
                <a:latin typeface="Arial"/>
              </a:rPr>
              <a:t>Use </a:t>
            </a:r>
            <a:r>
              <a:rPr lang="de-CH" sz="1600" dirty="0" err="1">
                <a:latin typeface="Arial"/>
              </a:rPr>
              <a:t>the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ollowing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acts</a:t>
            </a:r>
            <a:r>
              <a:rPr lang="de-CH" sz="1600" dirty="0">
                <a:latin typeface="Arial"/>
              </a:rPr>
              <a:t>:</a:t>
            </a:r>
            <a:endParaRPr lang="en-CH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578374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RAG</a:t>
            </a:r>
            <a:br>
              <a:rPr lang="en" dirty="0"/>
            </a:br>
            <a:r>
              <a:rPr lang="en" sz="4000" dirty="0"/>
              <a:t>Retrieval Augmented Gener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67271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6769047-D0EA-1F84-1AB1-7AB3E3C823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48570" y="5040420"/>
            <a:ext cx="909855" cy="95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730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Low Risk RAG Applications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99110" y="2230821"/>
            <a:ext cx="2437197" cy="243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3517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Choosing an applic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3377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252EBB-175F-5A23-BC70-66B9F91B2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ow Risk, but nice </a:t>
            </a:r>
            <a:r>
              <a:rPr lang="de-DE" dirty="0" err="1"/>
              <a:t>benef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C56F6-7D6B-5DE2-81A3-B832F6386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dirty="0"/>
              <a:t>What is the biggest risk we are facing?</a:t>
            </a:r>
          </a:p>
          <a:p>
            <a:pPr fontAlgn="base"/>
            <a:r>
              <a:rPr lang="en-US" dirty="0"/>
              <a:t>What is the worst thing that could happen and how to mitigate that?</a:t>
            </a:r>
          </a:p>
          <a:p>
            <a:pPr fontAlgn="base"/>
            <a:endParaRPr lang="de-DE" dirty="0"/>
          </a:p>
          <a:p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</a:t>
            </a:r>
            <a:r>
              <a:rPr lang="de-DE" dirty="0" err="1"/>
              <a:t>risk</a:t>
            </a:r>
            <a:r>
              <a:rPr lang="de-DE" dirty="0"/>
              <a:t>, but nice </a:t>
            </a:r>
            <a:r>
              <a:rPr lang="de-DE" dirty="0" err="1"/>
              <a:t>benefit</a:t>
            </a:r>
            <a:endParaRPr lang="de-DE" dirty="0"/>
          </a:p>
          <a:p>
            <a:r>
              <a:rPr lang="de-DE" dirty="0"/>
              <a:t>Low </a:t>
            </a:r>
            <a:r>
              <a:rPr lang="de-DE" dirty="0" err="1"/>
              <a:t>profile</a:t>
            </a:r>
            <a:endParaRPr lang="de-DE" dirty="0"/>
          </a:p>
          <a:p>
            <a:r>
              <a:rPr lang="de-DE" dirty="0" err="1"/>
              <a:t>Failures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ok</a:t>
            </a:r>
          </a:p>
          <a:p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hole</a:t>
            </a:r>
            <a:r>
              <a:rPr lang="de-DE" dirty="0"/>
              <a:t> </a:t>
            </a:r>
            <a:r>
              <a:rPr lang="de-DE" dirty="0" err="1"/>
              <a:t>organization</a:t>
            </a:r>
            <a:r>
              <a:rPr lang="de-DE" dirty="0"/>
              <a:t> </a:t>
            </a:r>
            <a:r>
              <a:rPr lang="de-DE" dirty="0" err="1"/>
              <a:t>learn</a:t>
            </a:r>
            <a:endParaRPr lang="de-DE" dirty="0"/>
          </a:p>
          <a:p>
            <a:r>
              <a:rPr lang="de-DE" dirty="0"/>
              <a:t>Management </a:t>
            </a:r>
            <a:r>
              <a:rPr lang="de-DE" dirty="0" err="1"/>
              <a:t>like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, but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frai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73251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A46737-121B-300C-C4BB-845504E03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Prompt Hack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duc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43D458-06E7-6C34-19E0-A3F2070C684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19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630935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C</a:t>
            </a:r>
            <a:r>
              <a:rPr lang="de-CH" dirty="0">
                <a:highlight>
                  <a:srgbClr val="FF9900"/>
                </a:highlight>
              </a:rPr>
              <a:t>h</a:t>
            </a:r>
            <a:r>
              <a:rPr lang="en" dirty="0">
                <a:highlight>
                  <a:srgbClr val="FF9900"/>
                </a:highlight>
              </a:rPr>
              <a:t>ef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mein Enkel kann das auch…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5EEDBD1C-1117-69FC-4C99-6738A92CB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59380" y="2233516"/>
            <a:ext cx="2699728" cy="2699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196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0A4D2-6AA6-60F0-3969-6ABEE2174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Der kleine Heimwerker </a:t>
            </a:r>
            <a:r>
              <a:rPr lang="de-DE" sz="2400" b="0" i="0" u="none" strike="noStrike" dirty="0" err="1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vs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 Ingenieur Tätigke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16B959-AEA1-F85B-722F-FDD9BD4F60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base"/>
            <a:r>
              <a:rPr lang="de-DE" dirty="0"/>
              <a:t>hohes Maß an Automatisierung</a:t>
            </a:r>
          </a:p>
          <a:p>
            <a:pPr fontAlgn="base"/>
            <a:r>
              <a:rPr lang="de-DE" dirty="0"/>
              <a:t>Generalisierung: Modell auf zukünftige Daten verallgemeinert anwendbar?</a:t>
            </a:r>
          </a:p>
          <a:p>
            <a:pPr marL="742950" lvl="1" indent="-285750" fontAlgn="base"/>
            <a:r>
              <a:rPr lang="de-DE" sz="1800" dirty="0">
                <a:latin typeface="Source Sans Pro" panose="020B0503030403020204"/>
              </a:rPr>
              <a:t>Der Nutzen ergibt sich durch Vorhersage auf bisher unbekannten Daten in der Zukunft.​</a:t>
            </a:r>
          </a:p>
          <a:p>
            <a:pPr marL="742950" lvl="1" indent="-285750" fontAlgn="base"/>
            <a:r>
              <a:rPr lang="de-DE" sz="1800" dirty="0">
                <a:latin typeface="Source Sans Pro" panose="020B0503030403020204"/>
              </a:rPr>
              <a:t>Auf diesen muss das Modell eine gute Leistung bringen. Nur das ist relevant.​</a:t>
            </a:r>
          </a:p>
          <a:p>
            <a:pPr fontAlgn="base"/>
            <a:r>
              <a:rPr lang="de-DE" dirty="0"/>
              <a:t>über einen längeren Zeitraum stabil bleiben</a:t>
            </a:r>
          </a:p>
          <a:p>
            <a:pPr>
              <a:spcAft>
                <a:spcPts val="1200"/>
              </a:spcAft>
            </a:pPr>
            <a:r>
              <a:rPr lang="de-DE" b="1" dirty="0"/>
              <a:t>Beispiel LLM und </a:t>
            </a:r>
            <a:r>
              <a:rPr lang="de-DE" b="1" dirty="0" err="1"/>
              <a:t>Prompting</a:t>
            </a:r>
            <a:r>
              <a:rPr lang="de-DE" b="1" dirty="0"/>
              <a:t> - können wir das nicht alle?</a:t>
            </a:r>
          </a:p>
          <a:p>
            <a:pPr fontAlgn="base"/>
            <a:r>
              <a:rPr lang="de-DE" dirty="0"/>
              <a:t>Von </a:t>
            </a:r>
            <a:r>
              <a:rPr lang="de-DE" dirty="0" err="1"/>
              <a:t>wqelcher</a:t>
            </a:r>
            <a:r>
              <a:rPr lang="de-DE" dirty="0"/>
              <a:t> Art </a:t>
            </a:r>
            <a:r>
              <a:rPr lang="de-DE" dirty="0" err="1"/>
              <a:t>Prompting</a:t>
            </a:r>
            <a:r>
              <a:rPr lang="de-DE" dirty="0"/>
              <a:t> sprechen wir ? Muss man unterscheiden von ad hoc </a:t>
            </a:r>
            <a:r>
              <a:rPr lang="de-DE" dirty="0" err="1"/>
              <a:t>Prompting</a:t>
            </a:r>
            <a:endParaRPr lang="de-DE" dirty="0"/>
          </a:p>
          <a:p>
            <a:pPr fontAlgn="base"/>
            <a:r>
              <a:rPr lang="de-DE" dirty="0"/>
              <a:t>Bei Ad hoc sieht man direkt, ob es geht. Man hat ein hohes Maß an menschlicher Überwachung.</a:t>
            </a:r>
          </a:p>
          <a:p>
            <a:pPr fontAlgn="base">
              <a:spcAft>
                <a:spcPts val="1200"/>
              </a:spcAft>
            </a:pPr>
            <a:r>
              <a:rPr lang="de-DE" dirty="0"/>
              <a:t>Unterschied internes Werkzeug und stabiler Service. Plattform Team</a:t>
            </a:r>
          </a:p>
        </p:txBody>
      </p:sp>
    </p:spTree>
    <p:extLst>
      <p:ext uri="{BB962C8B-B14F-4D97-AF65-F5344CB8AC3E}">
        <p14:creationId xmlns:p14="http://schemas.microsoft.com/office/powerpoint/2010/main" val="41450839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b="1" dirty="0">
                <a:solidFill>
                  <a:schemeClr val="accent2">
                    <a:lumMod val="25000"/>
                  </a:schemeClr>
                </a:solidFill>
                <a:latin typeface="Source Sans Pro" panose="020B0503030403020204"/>
              </a:rPr>
              <a:t>=&gt; </a:t>
            </a:r>
            <a:r>
              <a:rPr lang="de-CH" sz="2400" b="1" dirty="0" err="1">
                <a:solidFill>
                  <a:schemeClr val="accent2">
                    <a:lumMod val="25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equality</a:t>
            </a:r>
            <a:r>
              <a:rPr lang="de-CH" sz="2400" b="1" dirty="0">
                <a:solidFill>
                  <a:schemeClr val="accent2">
                    <a:lumMod val="25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 not an </a:t>
            </a:r>
            <a:r>
              <a:rPr lang="de-CH" sz="2400" b="1" dirty="0" err="1">
                <a:solidFill>
                  <a:schemeClr val="accent2">
                    <a:lumMod val="25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option</a:t>
            </a:r>
            <a:endParaRPr lang="de-CH" sz="1600" b="1" dirty="0">
              <a:solidFill>
                <a:schemeClr val="accent2">
                  <a:lumMod val="25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 err="1"/>
              <a:t>Context</a:t>
            </a:r>
            <a:endParaRPr lang="de-CH" dirty="0"/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28178" y="2230821"/>
            <a:ext cx="2708130" cy="270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1135122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: Online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190917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5915908" y="3422178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021622" y="286499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590296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2171887" y="293866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3EF4255-1835-7F63-9469-DB23E60E50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8230601" y="429157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752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F9A850-C1E6-6470-F3FE-4CE32E9E5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353" y="1418505"/>
            <a:ext cx="11180905" cy="402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479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6659"/>
          <a:stretch/>
        </p:blipFill>
        <p:spPr>
          <a:xfrm>
            <a:off x="276662" y="1816189"/>
            <a:ext cx="11568875" cy="2535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Human </a:t>
            </a:r>
            <a:r>
              <a:rPr lang="de-DE" dirty="0" err="1"/>
              <a:t>Eva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great</a:t>
            </a:r>
            <a:r>
              <a:rPr lang="de-DE" dirty="0"/>
              <a:t>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r>
              <a:rPr lang="de-DE" dirty="0"/>
              <a:t>LLM-</a:t>
            </a:r>
            <a:r>
              <a:rPr lang="de-DE" dirty="0" err="1"/>
              <a:t>as</a:t>
            </a:r>
            <a:r>
              <a:rPr lang="de-DE" dirty="0"/>
              <a:t>-a-Judge </a:t>
            </a:r>
            <a:r>
              <a:rPr lang="de-DE" dirty="0" err="1"/>
              <a:t>works</a:t>
            </a:r>
            <a:r>
              <a:rPr lang="de-DE" dirty="0"/>
              <a:t>, but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co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grai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alt</a:t>
            </a:r>
            <a:endParaRPr lang="de-DE" dirty="0"/>
          </a:p>
          <a:p>
            <a:r>
              <a:rPr lang="de-DE" dirty="0"/>
              <a:t>Use a strong LLM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aluation</a:t>
            </a:r>
            <a:endParaRPr lang="de-DE" dirty="0"/>
          </a:p>
          <a:p>
            <a:r>
              <a:rPr lang="de-DE" dirty="0"/>
              <a:t>Evaluation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crucial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potentially</a:t>
            </a:r>
            <a:r>
              <a:rPr lang="de-DE" dirty="0"/>
              <a:t> 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powerfull</a:t>
            </a:r>
            <a:r>
              <a:rPr lang="de-DE" dirty="0"/>
              <a:t> </a:t>
            </a:r>
            <a:r>
              <a:rPr lang="de-DE" dirty="0" err="1"/>
              <a:t>models</a:t>
            </a:r>
            <a:endParaRPr lang="de-DE" dirty="0"/>
          </a:p>
          <a:p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ocuments</a:t>
            </a:r>
            <a:r>
              <a:rPr lang="de-DE" dirty="0"/>
              <a:t> &amp; </a:t>
            </a:r>
            <a:r>
              <a:rPr lang="de-DE" dirty="0" err="1"/>
              <a:t>keep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-</a:t>
            </a:r>
            <a:r>
              <a:rPr lang="de-DE" dirty="0" err="1"/>
              <a:t>to</a:t>
            </a:r>
            <a:r>
              <a:rPr lang="de-DE" dirty="0"/>
              <a:t>-date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ainful</a:t>
            </a:r>
            <a:endParaRPr lang="de-DE" dirty="0"/>
          </a:p>
          <a:p>
            <a:endParaRPr lang="en-CH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0F2087-990C-E410-80D8-75077399E59D}"/>
              </a:ext>
            </a:extLst>
          </p:cNvPr>
          <p:cNvSpPr txBox="1"/>
          <p:nvPr/>
        </p:nvSpPr>
        <p:spPr>
          <a:xfrm>
            <a:off x="1419443" y="4309679"/>
            <a:ext cx="966540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4400" dirty="0">
                <a:solidFill>
                  <a:schemeClr val="tx2">
                    <a:lumMod val="75000"/>
                  </a:schemeClr>
                </a:solidFill>
                <a:highlight>
                  <a:srgbClr val="FFFFFF"/>
                </a:highlight>
                <a:latin typeface="Arial"/>
              </a:rPr>
              <a:t> </a:t>
            </a:r>
            <a:r>
              <a:rPr lang="de-CH" sz="4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Arial"/>
              </a:rPr>
              <a:t>Vorsicht vor dem Enkel des Chefs…   </a:t>
            </a:r>
            <a:endParaRPr lang="en-CH" sz="44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36266" y="2188159"/>
            <a:ext cx="3102431" cy="310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</a:t>
            </a:r>
            <a:r>
              <a:rPr lang="en" sz="1600" b="1" dirty="0">
                <a:latin typeface="Source Sans Pro" panose="020B0503030403020204"/>
              </a:rPr>
              <a:t> </a:t>
            </a:r>
            <a:r>
              <a:rPr lang="en" sz="1600" b="1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Llama, Mistral or OpenAI GPT</a:t>
            </a:r>
            <a:endParaRPr sz="1600" b="1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991361"/>
            <a:chOff x="588509" y="3436606"/>
            <a:chExt cx="8272975" cy="74352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26</Words>
  <Application>Microsoft Office PowerPoint</Application>
  <PresentationFormat>Widescreen</PresentationFormat>
  <Paragraphs>525</Paragraphs>
  <Slides>36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5" baseType="lpstr">
      <vt:lpstr>[Normal Text]</vt:lpstr>
      <vt:lpstr>Arial</vt:lpstr>
      <vt:lpstr>Calibri</vt:lpstr>
      <vt:lpstr>Montserrat</vt:lpstr>
      <vt:lpstr>Playfair Display</vt:lpstr>
      <vt:lpstr>Source Sans Pro</vt:lpstr>
      <vt:lpstr>Symbol</vt:lpstr>
      <vt:lpstr>master_geberit_16zu9_DE</vt:lpstr>
      <vt:lpstr>think-cell Folie</vt:lpstr>
      <vt:lpstr>GPTx und RAG in der Praxis</vt:lpstr>
      <vt:lpstr>Chef:  mein Enkel kann das auch…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Naïve Approach</vt:lpstr>
      <vt:lpstr>Idea: just a few pages</vt:lpstr>
      <vt:lpstr>RAG Retrieval Augmented Generation</vt:lpstr>
      <vt:lpstr>RAG System Architecture</vt:lpstr>
      <vt:lpstr>Demo:  Low Risk RAG Applications</vt:lpstr>
      <vt:lpstr>Choosing an application</vt:lpstr>
      <vt:lpstr>Low Risk, but nice benefit</vt:lpstr>
      <vt:lpstr>From Prompt Hacking to Production</vt:lpstr>
      <vt:lpstr>Der kleine Heimwerker vs Ingenieur Tätigkeit</vt:lpstr>
      <vt:lpstr>Evaluation</vt:lpstr>
      <vt:lpstr>Evaluation on text results</vt:lpstr>
      <vt:lpstr>Evaluation on text results</vt:lpstr>
      <vt:lpstr>Evaluation on text results</vt:lpstr>
      <vt:lpstr>LLM as a judge: Idea</vt:lpstr>
      <vt:lpstr>Demo:  Evaluation Notebook</vt:lpstr>
      <vt:lpstr>RAG System Architecture</vt:lpstr>
      <vt:lpstr>RAG System Architecture: Online Evaluation</vt:lpstr>
      <vt:lpstr>Online Eval: Example</vt:lpstr>
      <vt:lpstr>Online Eval: Example</vt:lpstr>
      <vt:lpstr>Evaluation Issues</vt:lpstr>
      <vt:lpstr>Eval Frameworks</vt:lpstr>
      <vt:lpstr>Your Experience ?</vt:lpstr>
      <vt:lpstr>Wrap Up</vt:lpstr>
      <vt:lpstr>Key takeaway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136</cp:revision>
  <dcterms:created xsi:type="dcterms:W3CDTF">2019-10-15T07:31:09Z</dcterms:created>
  <dcterms:modified xsi:type="dcterms:W3CDTF">2024-09-10T08:51:59Z</dcterms:modified>
</cp:coreProperties>
</file>